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</p:sldIdLst>
  <p:sldSz cx="2879725" cy="2879725"/>
  <p:notesSz cx="6858000" cy="9144000"/>
  <p:custDataLst>
    <p:tags r:id="rId3"/>
  </p:custDataLst>
  <p:defaultTextStyle>
    <a:defPPr>
      <a:defRPr lang="de-DE"/>
    </a:defPPr>
    <a:lvl1pPr marL="0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1pPr>
    <a:lvl2pPr marL="235915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2pPr>
    <a:lvl3pPr marL="471830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3pPr>
    <a:lvl4pPr marL="707746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4pPr>
    <a:lvl5pPr marL="943661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5pPr>
    <a:lvl6pPr marL="1179576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6pPr>
    <a:lvl7pPr marL="1415491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7pPr>
    <a:lvl8pPr marL="1651406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8pPr>
    <a:lvl9pPr marL="1887322" algn="l" defTabSz="471830" rtl="0" eaLnBrk="1" latinLnBrk="0" hangingPunct="1">
      <a:defRPr sz="9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4" autoAdjust="0"/>
    <p:restoredTop sz="94660"/>
  </p:normalViewPr>
  <p:slideViewPr>
    <p:cSldViewPr snapToGrid="0">
      <p:cViewPr varScale="1">
        <p:scale>
          <a:sx n="250" d="100"/>
          <a:sy n="250" d="100"/>
        </p:scale>
        <p:origin x="2856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980" y="471289"/>
            <a:ext cx="2447766" cy="1002571"/>
          </a:xfrm>
        </p:spPr>
        <p:txBody>
          <a:bodyPr anchor="b"/>
          <a:lstStyle>
            <a:lvl1pPr algn="ctr">
              <a:defRPr sz="188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9966" y="1512522"/>
            <a:ext cx="2159794" cy="695267"/>
          </a:xfrm>
        </p:spPr>
        <p:txBody>
          <a:bodyPr/>
          <a:lstStyle>
            <a:lvl1pPr marL="0" indent="0" algn="ctr">
              <a:buNone/>
              <a:defRPr sz="756"/>
            </a:lvl1pPr>
            <a:lvl2pPr marL="143972" indent="0" algn="ctr">
              <a:buNone/>
              <a:defRPr sz="630"/>
            </a:lvl2pPr>
            <a:lvl3pPr marL="287945" indent="0" algn="ctr">
              <a:buNone/>
              <a:defRPr sz="567"/>
            </a:lvl3pPr>
            <a:lvl4pPr marL="431917" indent="0" algn="ctr">
              <a:buNone/>
              <a:defRPr sz="504"/>
            </a:lvl4pPr>
            <a:lvl5pPr marL="575889" indent="0" algn="ctr">
              <a:buNone/>
              <a:defRPr sz="504"/>
            </a:lvl5pPr>
            <a:lvl6pPr marL="719861" indent="0" algn="ctr">
              <a:buNone/>
              <a:defRPr sz="504"/>
            </a:lvl6pPr>
            <a:lvl7pPr marL="863834" indent="0" algn="ctr">
              <a:buNone/>
              <a:defRPr sz="504"/>
            </a:lvl7pPr>
            <a:lvl8pPr marL="1007806" indent="0" algn="ctr">
              <a:buNone/>
              <a:defRPr sz="504"/>
            </a:lvl8pPr>
            <a:lvl9pPr marL="1151778" indent="0" algn="ctr">
              <a:buNone/>
              <a:defRPr sz="504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273016"/>
              </p:ext>
            </p:extLst>
          </p:nvPr>
        </p:nvGraphicFramePr>
        <p:xfrm>
          <a:off x="376" y="667"/>
          <a:ext cx="375" cy="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76" y="667"/>
                        <a:ext cx="375" cy="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59269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16264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060803" y="153319"/>
            <a:ext cx="620941" cy="2440434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7981" y="153319"/>
            <a:ext cx="1826826" cy="2440434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109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449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481" y="717932"/>
            <a:ext cx="2483763" cy="1197885"/>
          </a:xfrm>
        </p:spPr>
        <p:txBody>
          <a:bodyPr anchor="b"/>
          <a:lstStyle>
            <a:lvl1pPr>
              <a:defRPr sz="188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6481" y="1927150"/>
            <a:ext cx="2483763" cy="629940"/>
          </a:xfrm>
        </p:spPr>
        <p:txBody>
          <a:bodyPr/>
          <a:lstStyle>
            <a:lvl1pPr marL="0" indent="0">
              <a:buNone/>
              <a:defRPr sz="756">
                <a:solidFill>
                  <a:schemeClr val="tx1"/>
                </a:solidFill>
              </a:defRPr>
            </a:lvl1pPr>
            <a:lvl2pPr marL="143972" indent="0">
              <a:buNone/>
              <a:defRPr sz="630">
                <a:solidFill>
                  <a:schemeClr val="tx1">
                    <a:tint val="75000"/>
                  </a:schemeClr>
                </a:solidFill>
              </a:defRPr>
            </a:lvl2pPr>
            <a:lvl3pPr marL="287945" indent="0">
              <a:buNone/>
              <a:defRPr sz="567">
                <a:solidFill>
                  <a:schemeClr val="tx1">
                    <a:tint val="75000"/>
                  </a:schemeClr>
                </a:solidFill>
              </a:defRPr>
            </a:lvl3pPr>
            <a:lvl4pPr marL="431917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4pPr>
            <a:lvl5pPr marL="575889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5pPr>
            <a:lvl6pPr marL="719861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6pPr>
            <a:lvl7pPr marL="863834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7pPr>
            <a:lvl8pPr marL="1007806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8pPr>
            <a:lvl9pPr marL="1151778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00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981" y="766593"/>
            <a:ext cx="1223883" cy="182715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57861" y="766593"/>
            <a:ext cx="1223883" cy="182715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9038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356" y="153319"/>
            <a:ext cx="2483763" cy="55661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8357" y="705933"/>
            <a:ext cx="1218258" cy="345967"/>
          </a:xfrm>
        </p:spPr>
        <p:txBody>
          <a:bodyPr anchor="b"/>
          <a:lstStyle>
            <a:lvl1pPr marL="0" indent="0">
              <a:buNone/>
              <a:defRPr sz="756" b="1"/>
            </a:lvl1pPr>
            <a:lvl2pPr marL="143972" indent="0">
              <a:buNone/>
              <a:defRPr sz="630" b="1"/>
            </a:lvl2pPr>
            <a:lvl3pPr marL="287945" indent="0">
              <a:buNone/>
              <a:defRPr sz="567" b="1"/>
            </a:lvl3pPr>
            <a:lvl4pPr marL="431917" indent="0">
              <a:buNone/>
              <a:defRPr sz="504" b="1"/>
            </a:lvl4pPr>
            <a:lvl5pPr marL="575889" indent="0">
              <a:buNone/>
              <a:defRPr sz="504" b="1"/>
            </a:lvl5pPr>
            <a:lvl6pPr marL="719861" indent="0">
              <a:buNone/>
              <a:defRPr sz="504" b="1"/>
            </a:lvl6pPr>
            <a:lvl7pPr marL="863834" indent="0">
              <a:buNone/>
              <a:defRPr sz="504" b="1"/>
            </a:lvl7pPr>
            <a:lvl8pPr marL="1007806" indent="0">
              <a:buNone/>
              <a:defRPr sz="504" b="1"/>
            </a:lvl8pPr>
            <a:lvl9pPr marL="1151778" indent="0">
              <a:buNone/>
              <a:defRPr sz="504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8357" y="1051899"/>
            <a:ext cx="1218258" cy="154718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457861" y="705933"/>
            <a:ext cx="1224258" cy="345967"/>
          </a:xfrm>
        </p:spPr>
        <p:txBody>
          <a:bodyPr anchor="b"/>
          <a:lstStyle>
            <a:lvl1pPr marL="0" indent="0">
              <a:buNone/>
              <a:defRPr sz="756" b="1"/>
            </a:lvl1pPr>
            <a:lvl2pPr marL="143972" indent="0">
              <a:buNone/>
              <a:defRPr sz="630" b="1"/>
            </a:lvl2pPr>
            <a:lvl3pPr marL="287945" indent="0">
              <a:buNone/>
              <a:defRPr sz="567" b="1"/>
            </a:lvl3pPr>
            <a:lvl4pPr marL="431917" indent="0">
              <a:buNone/>
              <a:defRPr sz="504" b="1"/>
            </a:lvl4pPr>
            <a:lvl5pPr marL="575889" indent="0">
              <a:buNone/>
              <a:defRPr sz="504" b="1"/>
            </a:lvl5pPr>
            <a:lvl6pPr marL="719861" indent="0">
              <a:buNone/>
              <a:defRPr sz="504" b="1"/>
            </a:lvl6pPr>
            <a:lvl7pPr marL="863834" indent="0">
              <a:buNone/>
              <a:defRPr sz="504" b="1"/>
            </a:lvl7pPr>
            <a:lvl8pPr marL="1007806" indent="0">
              <a:buNone/>
              <a:defRPr sz="504" b="1"/>
            </a:lvl8pPr>
            <a:lvl9pPr marL="1151778" indent="0">
              <a:buNone/>
              <a:defRPr sz="504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457861" y="1051899"/>
            <a:ext cx="1224258" cy="154718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8630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8172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83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356" y="191982"/>
            <a:ext cx="928786" cy="671936"/>
          </a:xfrm>
        </p:spPr>
        <p:txBody>
          <a:bodyPr anchor="b"/>
          <a:lstStyle>
            <a:lvl1pPr>
              <a:defRPr sz="1008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4258" y="414628"/>
            <a:ext cx="1457861" cy="2046471"/>
          </a:xfrm>
        </p:spPr>
        <p:txBody>
          <a:bodyPr/>
          <a:lstStyle>
            <a:lvl1pPr>
              <a:defRPr sz="1008"/>
            </a:lvl1pPr>
            <a:lvl2pPr>
              <a:defRPr sz="882"/>
            </a:lvl2pPr>
            <a:lvl3pPr>
              <a:defRPr sz="756"/>
            </a:lvl3pPr>
            <a:lvl4pPr>
              <a:defRPr sz="630"/>
            </a:lvl4pPr>
            <a:lvl5pPr>
              <a:defRPr sz="630"/>
            </a:lvl5pPr>
            <a:lvl6pPr>
              <a:defRPr sz="630"/>
            </a:lvl6pPr>
            <a:lvl7pPr>
              <a:defRPr sz="630"/>
            </a:lvl7pPr>
            <a:lvl8pPr>
              <a:defRPr sz="630"/>
            </a:lvl8pPr>
            <a:lvl9pPr>
              <a:defRPr sz="63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356" y="863918"/>
            <a:ext cx="928786" cy="1600514"/>
          </a:xfrm>
        </p:spPr>
        <p:txBody>
          <a:bodyPr/>
          <a:lstStyle>
            <a:lvl1pPr marL="0" indent="0">
              <a:buNone/>
              <a:defRPr sz="504"/>
            </a:lvl1pPr>
            <a:lvl2pPr marL="143972" indent="0">
              <a:buNone/>
              <a:defRPr sz="441"/>
            </a:lvl2pPr>
            <a:lvl3pPr marL="287945" indent="0">
              <a:buNone/>
              <a:defRPr sz="378"/>
            </a:lvl3pPr>
            <a:lvl4pPr marL="431917" indent="0">
              <a:buNone/>
              <a:defRPr sz="315"/>
            </a:lvl4pPr>
            <a:lvl5pPr marL="575889" indent="0">
              <a:buNone/>
              <a:defRPr sz="315"/>
            </a:lvl5pPr>
            <a:lvl6pPr marL="719861" indent="0">
              <a:buNone/>
              <a:defRPr sz="315"/>
            </a:lvl6pPr>
            <a:lvl7pPr marL="863834" indent="0">
              <a:buNone/>
              <a:defRPr sz="315"/>
            </a:lvl7pPr>
            <a:lvl8pPr marL="1007806" indent="0">
              <a:buNone/>
              <a:defRPr sz="315"/>
            </a:lvl8pPr>
            <a:lvl9pPr marL="1151778" indent="0">
              <a:buNone/>
              <a:defRPr sz="315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2293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356" y="191982"/>
            <a:ext cx="928786" cy="671936"/>
          </a:xfrm>
        </p:spPr>
        <p:txBody>
          <a:bodyPr anchor="b"/>
          <a:lstStyle>
            <a:lvl1pPr>
              <a:defRPr sz="1008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24258" y="414628"/>
            <a:ext cx="1457861" cy="2046471"/>
          </a:xfrm>
        </p:spPr>
        <p:txBody>
          <a:bodyPr anchor="t"/>
          <a:lstStyle>
            <a:lvl1pPr marL="0" indent="0">
              <a:buNone/>
              <a:defRPr sz="1008"/>
            </a:lvl1pPr>
            <a:lvl2pPr marL="143972" indent="0">
              <a:buNone/>
              <a:defRPr sz="882"/>
            </a:lvl2pPr>
            <a:lvl3pPr marL="287945" indent="0">
              <a:buNone/>
              <a:defRPr sz="756"/>
            </a:lvl3pPr>
            <a:lvl4pPr marL="431917" indent="0">
              <a:buNone/>
              <a:defRPr sz="630"/>
            </a:lvl4pPr>
            <a:lvl5pPr marL="575889" indent="0">
              <a:buNone/>
              <a:defRPr sz="630"/>
            </a:lvl5pPr>
            <a:lvl6pPr marL="719861" indent="0">
              <a:buNone/>
              <a:defRPr sz="630"/>
            </a:lvl6pPr>
            <a:lvl7pPr marL="863834" indent="0">
              <a:buNone/>
              <a:defRPr sz="630"/>
            </a:lvl7pPr>
            <a:lvl8pPr marL="1007806" indent="0">
              <a:buNone/>
              <a:defRPr sz="630"/>
            </a:lvl8pPr>
            <a:lvl9pPr marL="1151778" indent="0">
              <a:buNone/>
              <a:defRPr sz="63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356" y="863918"/>
            <a:ext cx="928786" cy="1600514"/>
          </a:xfrm>
        </p:spPr>
        <p:txBody>
          <a:bodyPr/>
          <a:lstStyle>
            <a:lvl1pPr marL="0" indent="0">
              <a:buNone/>
              <a:defRPr sz="504"/>
            </a:lvl1pPr>
            <a:lvl2pPr marL="143972" indent="0">
              <a:buNone/>
              <a:defRPr sz="441"/>
            </a:lvl2pPr>
            <a:lvl3pPr marL="287945" indent="0">
              <a:buNone/>
              <a:defRPr sz="378"/>
            </a:lvl3pPr>
            <a:lvl4pPr marL="431917" indent="0">
              <a:buNone/>
              <a:defRPr sz="315"/>
            </a:lvl4pPr>
            <a:lvl5pPr marL="575889" indent="0">
              <a:buNone/>
              <a:defRPr sz="315"/>
            </a:lvl5pPr>
            <a:lvl6pPr marL="719861" indent="0">
              <a:buNone/>
              <a:defRPr sz="315"/>
            </a:lvl6pPr>
            <a:lvl7pPr marL="863834" indent="0">
              <a:buNone/>
              <a:defRPr sz="315"/>
            </a:lvl7pPr>
            <a:lvl8pPr marL="1007806" indent="0">
              <a:buNone/>
              <a:defRPr sz="315"/>
            </a:lvl8pPr>
            <a:lvl9pPr marL="1151778" indent="0">
              <a:buNone/>
              <a:defRPr sz="315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2169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7981" y="153319"/>
            <a:ext cx="2483763" cy="556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981" y="766593"/>
            <a:ext cx="2483763" cy="18271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7981" y="2669079"/>
            <a:ext cx="647938" cy="1533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1FE26B-887D-465E-8782-5444751B592E}" type="datetimeFigureOut">
              <a:rPr lang="de-DE" smtClean="0"/>
              <a:t>24.08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53909" y="2669079"/>
            <a:ext cx="971907" cy="1533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033806" y="2669079"/>
            <a:ext cx="647938" cy="1533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5D83BF-C20F-4DE3-8521-1F1BC318AF69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6191826"/>
              </p:ext>
            </p:extLst>
          </p:nvPr>
        </p:nvGraphicFramePr>
        <p:xfrm>
          <a:off x="376" y="667"/>
          <a:ext cx="375" cy="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Folie" r:id="rId15" imgW="592" imgH="588" progId="TCLayout.ActiveDocument.1">
                  <p:embed/>
                </p:oleObj>
              </mc:Choice>
              <mc:Fallback>
                <p:oleObj name="think-cell Folie" r:id="rId15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76" y="667"/>
                        <a:ext cx="375" cy="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53901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287945" rtl="0" eaLnBrk="1" latinLnBrk="0" hangingPunct="1">
        <a:lnSpc>
          <a:spcPct val="90000"/>
        </a:lnSpc>
        <a:spcBef>
          <a:spcPct val="0"/>
        </a:spcBef>
        <a:buNone/>
        <a:defRPr sz="138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986" indent="-71986" algn="l" defTabSz="287945" rtl="0" eaLnBrk="1" latinLnBrk="0" hangingPunct="1">
        <a:lnSpc>
          <a:spcPct val="90000"/>
        </a:lnSpc>
        <a:spcBef>
          <a:spcPts val="315"/>
        </a:spcBef>
        <a:buFont typeface="Arial" panose="020B0604020202020204" pitchFamily="34" charset="0"/>
        <a:buChar char="•"/>
        <a:defRPr sz="882" kern="1200">
          <a:solidFill>
            <a:schemeClr val="tx1"/>
          </a:solidFill>
          <a:latin typeface="+mn-lt"/>
          <a:ea typeface="+mn-ea"/>
          <a:cs typeface="+mn-cs"/>
        </a:defRPr>
      </a:lvl1pPr>
      <a:lvl2pPr marL="215958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756" kern="1200">
          <a:solidFill>
            <a:schemeClr val="tx1"/>
          </a:solidFill>
          <a:latin typeface="+mn-lt"/>
          <a:ea typeface="+mn-ea"/>
          <a:cs typeface="+mn-cs"/>
        </a:defRPr>
      </a:lvl2pPr>
      <a:lvl3pPr marL="359931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630" kern="1200">
          <a:solidFill>
            <a:schemeClr val="tx1"/>
          </a:solidFill>
          <a:latin typeface="+mn-lt"/>
          <a:ea typeface="+mn-ea"/>
          <a:cs typeface="+mn-cs"/>
        </a:defRPr>
      </a:lvl3pPr>
      <a:lvl4pPr marL="503903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4pPr>
      <a:lvl5pPr marL="647875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5pPr>
      <a:lvl6pPr marL="791848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6pPr>
      <a:lvl7pPr marL="935820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7pPr>
      <a:lvl8pPr marL="1079792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8pPr>
      <a:lvl9pPr marL="1223764" indent="-71986" algn="l" defTabSz="287945" rtl="0" eaLnBrk="1" latinLnBrk="0" hangingPunct="1">
        <a:lnSpc>
          <a:spcPct val="90000"/>
        </a:lnSpc>
        <a:spcBef>
          <a:spcPts val="157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1pPr>
      <a:lvl2pPr marL="143972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2pPr>
      <a:lvl3pPr marL="287945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3pPr>
      <a:lvl4pPr marL="431917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4pPr>
      <a:lvl5pPr marL="575889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5pPr>
      <a:lvl6pPr marL="719861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6pPr>
      <a:lvl7pPr marL="863834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7pPr>
      <a:lvl8pPr marL="1007806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8pPr>
      <a:lvl9pPr marL="1151778" algn="l" defTabSz="287945" rtl="0" eaLnBrk="1" latinLnBrk="0" hangingPunct="1">
        <a:defRPr sz="5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001089"/>
              </p:ext>
            </p:extLst>
          </p:nvPr>
        </p:nvGraphicFramePr>
        <p:xfrm>
          <a:off x="-4919146" y="-2339018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4919146" y="-2339018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Gerader Verbinder 30"/>
          <p:cNvCxnSpPr/>
          <p:nvPr/>
        </p:nvCxnSpPr>
        <p:spPr>
          <a:xfrm>
            <a:off x="868079" y="1191281"/>
            <a:ext cx="0" cy="13892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>
            <a:off x="1168590" y="1191281"/>
            <a:ext cx="0" cy="13892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>
            <a:off x="1469101" y="1191281"/>
            <a:ext cx="0" cy="13892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1769612" y="1191281"/>
            <a:ext cx="0" cy="13892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/>
          <p:nvPr/>
        </p:nvCxnSpPr>
        <p:spPr>
          <a:xfrm>
            <a:off x="2070123" y="1191281"/>
            <a:ext cx="0" cy="13892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/>
          <p:cNvSpPr/>
          <p:nvPr/>
        </p:nvSpPr>
        <p:spPr>
          <a:xfrm>
            <a:off x="567568" y="563615"/>
            <a:ext cx="300511" cy="3877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98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5" name="Rechteck 4"/>
          <p:cNvSpPr/>
          <p:nvPr/>
        </p:nvSpPr>
        <p:spPr>
          <a:xfrm>
            <a:off x="868080" y="563615"/>
            <a:ext cx="300511" cy="3877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98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6" name="Rechteck 5"/>
          <p:cNvSpPr/>
          <p:nvPr/>
        </p:nvSpPr>
        <p:spPr>
          <a:xfrm>
            <a:off x="1168592" y="563615"/>
            <a:ext cx="300511" cy="3877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98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7" name="Rechteck 6"/>
          <p:cNvSpPr/>
          <p:nvPr/>
        </p:nvSpPr>
        <p:spPr>
          <a:xfrm>
            <a:off x="1469103" y="563615"/>
            <a:ext cx="300511" cy="3877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98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  <p:sp>
        <p:nvSpPr>
          <p:cNvPr id="8" name="Rechteck 7"/>
          <p:cNvSpPr/>
          <p:nvPr/>
        </p:nvSpPr>
        <p:spPr>
          <a:xfrm>
            <a:off x="1769614" y="563615"/>
            <a:ext cx="300511" cy="3877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98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</p:txBody>
      </p:sp>
      <p:sp>
        <p:nvSpPr>
          <p:cNvPr id="9" name="Rechteck 8"/>
          <p:cNvSpPr/>
          <p:nvPr/>
        </p:nvSpPr>
        <p:spPr>
          <a:xfrm>
            <a:off x="2070125" y="563615"/>
            <a:ext cx="300511" cy="3877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98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04642" y="330908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06300" y="330908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1007956" y="330908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309613" y="330908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1611270" y="330908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1912926" y="330908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2214583" y="330908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404642" y="965930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Arial" panose="020B0604020202020204" pitchFamily="34" charset="0"/>
                <a:cs typeface="Arial" panose="020B0604020202020204" pitchFamily="34" charset="0"/>
              </a:rPr>
              <a:t>−</a:t>
            </a:r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06300" y="965930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Arial" panose="020B0604020202020204" pitchFamily="34" charset="0"/>
                <a:cs typeface="Arial" panose="020B0604020202020204" pitchFamily="34" charset="0"/>
              </a:rPr>
              <a:t>−</a:t>
            </a:r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5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007956" y="965930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Arial" panose="020B0604020202020204" pitchFamily="34" charset="0"/>
                <a:cs typeface="Arial" panose="020B0604020202020204" pitchFamily="34" charset="0"/>
              </a:rPr>
              <a:t>−</a:t>
            </a:r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309613" y="965930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Arial" panose="020B0604020202020204" pitchFamily="34" charset="0"/>
                <a:cs typeface="Arial" panose="020B0604020202020204" pitchFamily="34" charset="0"/>
              </a:rPr>
              <a:t>−</a:t>
            </a:r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1611270" y="965930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Arial" panose="020B0604020202020204" pitchFamily="34" charset="0"/>
                <a:cs typeface="Arial" panose="020B0604020202020204" pitchFamily="34" charset="0"/>
              </a:rPr>
              <a:t>−</a:t>
            </a:r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1912926" y="965930"/>
            <a:ext cx="301657" cy="237537"/>
          </a:xfrm>
          <a:prstGeom prst="rect">
            <a:avLst/>
          </a:prstGeom>
          <a:noFill/>
        </p:spPr>
        <p:txBody>
          <a:bodyPr wrap="none" tIns="0" bIns="0" rtlCol="0" anchor="ctr">
            <a:noAutofit/>
          </a:bodyPr>
          <a:lstStyle/>
          <a:p>
            <a:pPr algn="ctr"/>
            <a:r>
              <a:rPr lang="de-DE" sz="1323" dirty="0">
                <a:latin typeface="Arial" panose="020B0604020202020204" pitchFamily="34" charset="0"/>
                <a:cs typeface="Arial" panose="020B0604020202020204" pitchFamily="34" charset="0"/>
              </a:rPr>
              <a:t>−</a:t>
            </a:r>
            <a:r>
              <a:rPr lang="de-DE" sz="1323" dirty="0"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1160503" y="1297946"/>
            <a:ext cx="901533" cy="203582"/>
            <a:chOff x="1160503" y="1297946"/>
            <a:chExt cx="901533" cy="203582"/>
          </a:xfrm>
        </p:grpSpPr>
        <p:cxnSp>
          <p:nvCxnSpPr>
            <p:cNvPr id="27" name="Gerade Verbindung mit Pfeil 26"/>
            <p:cNvCxnSpPr/>
            <p:nvPr/>
          </p:nvCxnSpPr>
          <p:spPr>
            <a:xfrm>
              <a:off x="1160503" y="1399738"/>
              <a:ext cx="901533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feld 27"/>
            <p:cNvSpPr txBox="1"/>
            <p:nvPr/>
          </p:nvSpPr>
          <p:spPr>
            <a:xfrm>
              <a:off x="1417299" y="1297946"/>
              <a:ext cx="387936" cy="2035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9692" tIns="0" rIns="39692" bIns="0" rtlCol="0" anchor="ctr">
              <a:spAutoFit/>
            </a:bodyPr>
            <a:lstStyle/>
            <a:p>
              <a:pPr algn="ctr"/>
              <a:r>
                <a:rPr lang="de-DE" sz="1323" dirty="0">
                  <a:latin typeface="Courier New" panose="02070309020205020404" pitchFamily="49" charset="0"/>
                  <a:cs typeface="Courier New" panose="02070309020205020404" pitchFamily="49" charset="0"/>
                </a:rPr>
                <a:t>2:5</a:t>
              </a:r>
            </a:p>
          </p:txBody>
        </p:sp>
      </p:grpSp>
      <p:cxnSp>
        <p:nvCxnSpPr>
          <p:cNvPr id="37" name="Gerader Verbinder 36"/>
          <p:cNvCxnSpPr/>
          <p:nvPr/>
        </p:nvCxnSpPr>
        <p:spPr>
          <a:xfrm>
            <a:off x="567568" y="1191281"/>
            <a:ext cx="0" cy="13892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/>
          <p:nvPr/>
        </p:nvCxnSpPr>
        <p:spPr>
          <a:xfrm>
            <a:off x="2370634" y="1191281"/>
            <a:ext cx="0" cy="138920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/>
          <p:cNvGrpSpPr/>
          <p:nvPr/>
        </p:nvGrpSpPr>
        <p:grpSpPr>
          <a:xfrm>
            <a:off x="567568" y="1482727"/>
            <a:ext cx="591216" cy="203582"/>
            <a:chOff x="567568" y="1546006"/>
            <a:chExt cx="591216" cy="203582"/>
          </a:xfrm>
        </p:grpSpPr>
        <p:cxnSp>
          <p:nvCxnSpPr>
            <p:cNvPr id="41" name="Gerade Verbindung mit Pfeil 40"/>
            <p:cNvCxnSpPr/>
            <p:nvPr/>
          </p:nvCxnSpPr>
          <p:spPr>
            <a:xfrm>
              <a:off x="567568" y="1647797"/>
              <a:ext cx="591216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feld 41"/>
            <p:cNvSpPr txBox="1"/>
            <p:nvPr/>
          </p:nvSpPr>
          <p:spPr>
            <a:xfrm>
              <a:off x="720504" y="1546006"/>
              <a:ext cx="285344" cy="2035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9692" tIns="0" rIns="39692" bIns="0" rtlCol="0" anchor="ctr">
              <a:spAutoFit/>
            </a:bodyPr>
            <a:lstStyle/>
            <a:p>
              <a:pPr algn="ctr"/>
              <a:r>
                <a:rPr lang="de-DE" sz="1323" dirty="0">
                  <a:latin typeface="Courier New" panose="02070309020205020404" pitchFamily="49" charset="0"/>
                  <a:cs typeface="Courier New" panose="02070309020205020404" pitchFamily="49" charset="0"/>
                </a:rPr>
                <a:t>:2</a:t>
              </a:r>
            </a:p>
          </p:txBody>
        </p:sp>
      </p:grpSp>
      <p:grpSp>
        <p:nvGrpSpPr>
          <p:cNvPr id="26" name="Gruppieren 25"/>
          <p:cNvGrpSpPr/>
          <p:nvPr/>
        </p:nvGrpSpPr>
        <p:grpSpPr>
          <a:xfrm>
            <a:off x="876168" y="2221851"/>
            <a:ext cx="893444" cy="203582"/>
            <a:chOff x="876168" y="2221851"/>
            <a:chExt cx="893444" cy="203582"/>
          </a:xfrm>
        </p:grpSpPr>
        <p:cxnSp>
          <p:nvCxnSpPr>
            <p:cNvPr id="43" name="Gerade Verbindung mit Pfeil 42"/>
            <p:cNvCxnSpPr/>
            <p:nvPr/>
          </p:nvCxnSpPr>
          <p:spPr>
            <a:xfrm>
              <a:off x="876168" y="2323643"/>
              <a:ext cx="89344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/>
            <p:cNvSpPr txBox="1"/>
            <p:nvPr/>
          </p:nvSpPr>
          <p:spPr>
            <a:xfrm>
              <a:off x="1036320" y="2221851"/>
              <a:ext cx="593120" cy="2035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9692" tIns="0" rIns="39692" bIns="0" rtlCol="0" anchor="ctr">
              <a:spAutoFit/>
            </a:bodyPr>
            <a:lstStyle/>
            <a:p>
              <a:pPr algn="ctr"/>
              <a:r>
                <a:rPr lang="de-DE" sz="1323" dirty="0">
                  <a:latin typeface="Courier New" panose="02070309020205020404" pitchFamily="49" charset="0"/>
                  <a:cs typeface="Courier New" panose="02070309020205020404" pitchFamily="49" charset="0"/>
                </a:rPr>
                <a:t>-5:-2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1167719" y="1667508"/>
            <a:ext cx="1202917" cy="203582"/>
            <a:chOff x="1167719" y="1654789"/>
            <a:chExt cx="1202917" cy="203582"/>
          </a:xfrm>
        </p:grpSpPr>
        <p:cxnSp>
          <p:nvCxnSpPr>
            <p:cNvPr id="45" name="Gerade Verbindung mit Pfeil 44"/>
            <p:cNvCxnSpPr/>
            <p:nvPr/>
          </p:nvCxnSpPr>
          <p:spPr>
            <a:xfrm>
              <a:off x="1167719" y="1756580"/>
              <a:ext cx="1202917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feld 45"/>
            <p:cNvSpPr txBox="1"/>
            <p:nvPr/>
          </p:nvSpPr>
          <p:spPr>
            <a:xfrm>
              <a:off x="1626504" y="1654789"/>
              <a:ext cx="285344" cy="2035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9692" tIns="0" rIns="39692" bIns="0" rtlCol="0" anchor="ctr">
              <a:spAutoFit/>
            </a:bodyPr>
            <a:lstStyle/>
            <a:p>
              <a:pPr algn="ctr"/>
              <a:r>
                <a:rPr lang="de-DE" sz="1323" dirty="0">
                  <a:latin typeface="Courier New" panose="02070309020205020404" pitchFamily="49" charset="0"/>
                  <a:cs typeface="Courier New" panose="02070309020205020404" pitchFamily="49" charset="0"/>
                </a:rPr>
                <a:t>2:</a:t>
              </a:r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567568" y="1852289"/>
            <a:ext cx="1194530" cy="203582"/>
            <a:chOff x="567568" y="1894697"/>
            <a:chExt cx="1194530" cy="203582"/>
          </a:xfrm>
        </p:grpSpPr>
        <p:cxnSp>
          <p:nvCxnSpPr>
            <p:cNvPr id="48" name="Gerade Verbindung mit Pfeil 47"/>
            <p:cNvCxnSpPr/>
            <p:nvPr/>
          </p:nvCxnSpPr>
          <p:spPr>
            <a:xfrm>
              <a:off x="567568" y="1996488"/>
              <a:ext cx="1194530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/>
            <p:cNvSpPr txBox="1"/>
            <p:nvPr/>
          </p:nvSpPr>
          <p:spPr>
            <a:xfrm>
              <a:off x="669208" y="1894697"/>
              <a:ext cx="387936" cy="2035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9692" tIns="0" rIns="39692" bIns="0" rtlCol="0" anchor="ctr">
              <a:spAutoFit/>
            </a:bodyPr>
            <a:lstStyle/>
            <a:p>
              <a:pPr algn="ctr"/>
              <a:r>
                <a:rPr lang="de-DE" sz="1323" dirty="0">
                  <a:latin typeface="Courier New" panose="02070309020205020404" pitchFamily="49" charset="0"/>
                  <a:cs typeface="Courier New" panose="02070309020205020404" pitchFamily="49" charset="0"/>
                </a:rPr>
                <a:t>:-2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1762098" y="2037070"/>
            <a:ext cx="608537" cy="203582"/>
            <a:chOff x="1762098" y="1894697"/>
            <a:chExt cx="608537" cy="203582"/>
          </a:xfrm>
        </p:grpSpPr>
        <p:cxnSp>
          <p:nvCxnSpPr>
            <p:cNvPr id="50" name="Gerade Verbindung mit Pfeil 49"/>
            <p:cNvCxnSpPr/>
            <p:nvPr/>
          </p:nvCxnSpPr>
          <p:spPr>
            <a:xfrm>
              <a:off x="1762098" y="1996488"/>
              <a:ext cx="608537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feld 50"/>
            <p:cNvSpPr txBox="1"/>
            <p:nvPr/>
          </p:nvSpPr>
          <p:spPr>
            <a:xfrm>
              <a:off x="1872397" y="1894697"/>
              <a:ext cx="387936" cy="2035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9692" tIns="0" rIns="39692" bIns="0" rtlCol="0" anchor="ctr">
              <a:spAutoFit/>
            </a:bodyPr>
            <a:lstStyle/>
            <a:p>
              <a:pPr algn="ctr"/>
              <a:r>
                <a:rPr lang="de-DE" sz="1323" dirty="0">
                  <a:latin typeface="Courier New" panose="02070309020205020404" pitchFamily="49" charset="0"/>
                  <a:cs typeface="Courier New" panose="02070309020205020404" pitchFamily="49" charset="0"/>
                </a:rPr>
                <a:t>-2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6761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9</Words>
  <Application>Microsoft Office PowerPoint</Application>
  <PresentationFormat>Benutzerdefiniert</PresentationFormat>
  <Paragraphs>2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ourier New</vt:lpstr>
      <vt:lpstr>Office Theme</vt:lpstr>
      <vt:lpstr>think-cell Folie</vt:lpstr>
      <vt:lpstr>PowerPoint-Präsentation</vt:lpstr>
    </vt:vector>
  </TitlesOfParts>
  <Company>Senacor Technologie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16</cp:revision>
  <dcterms:created xsi:type="dcterms:W3CDTF">2017-08-23T12:27:06Z</dcterms:created>
  <dcterms:modified xsi:type="dcterms:W3CDTF">2017-08-24T14:14:56Z</dcterms:modified>
</cp:coreProperties>
</file>